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440" r:id="rId5"/>
    <p:sldId id="439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hink-cell module 1 - Test your knowledge" id="{88DB55FC-9947-1D48-8034-D761CCF7B562}">
          <p14:sldIdLst>
            <p14:sldId id="440"/>
            <p14:sldId id="43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28701"/>
    <a:srgbClr val="A3A2A2"/>
    <a:srgbClr val="0A0A0A"/>
    <a:srgbClr val="C52536"/>
    <a:srgbClr val="C0C0C0"/>
    <a:srgbClr val="444444"/>
    <a:srgbClr val="DCDFE5"/>
    <a:srgbClr val="030303"/>
    <a:srgbClr val="00010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437"/>
    <p:restoredTop sz="82585"/>
  </p:normalViewPr>
  <p:slideViewPr>
    <p:cSldViewPr snapToGrid="0">
      <p:cViewPr varScale="1">
        <p:scale>
          <a:sx n="105" d="100"/>
          <a:sy n="105" d="100"/>
        </p:scale>
        <p:origin x="1640" y="176"/>
      </p:cViewPr>
      <p:guideLst/>
    </p:cSldViewPr>
  </p:slideViewPr>
  <p:outlineViewPr>
    <p:cViewPr>
      <p:scale>
        <a:sx n="33" d="100"/>
        <a:sy n="33" d="100"/>
      </p:scale>
      <p:origin x="0" y="-217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3360" y="2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73701762744165E-2"/>
          <c:y val="2.4773701762744165E-2"/>
          <c:w val="0.95045259647451164"/>
          <c:h val="0.950452596474511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478C-AD48-A4F8-1CA2ACAFFED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78C-AD48-A4F8-1CA2ACAFFED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478C-AD48-A4F8-1CA2ACAFFED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78C-AD48-A4F8-1CA2ACAFFED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478C-AD48-A4F8-1CA2ACAFFEDA}"/>
              </c:ext>
            </c:extLst>
          </c:dPt>
          <c:dLbls>
            <c:dLbl>
              <c:idx val="1"/>
              <c:layout>
                <c:manualLayout>
                  <c:x val="0.10909957122439257"/>
                  <c:y val="-0.1414959504525964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78C-AD48-A4F8-1CA2ACAFFEDA}"/>
                </c:ext>
              </c:extLst>
            </c:dLbl>
            <c:dLbl>
              <c:idx val="2"/>
              <c:layout>
                <c:manualLayout>
                  <c:x val="0.1376846117198666"/>
                  <c:y val="0.1048118151500714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78C-AD48-A4F8-1CA2ACAFFEDA}"/>
                </c:ext>
              </c:extLst>
            </c:dLbl>
            <c:dLbl>
              <c:idx val="3"/>
              <c:layout>
                <c:manualLayout>
                  <c:x val="-0.1729394949976179"/>
                  <c:y val="3.096712720343020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78C-AD48-A4F8-1CA2ACAFFEDA}"/>
                </c:ext>
              </c:extLst>
            </c:dLbl>
            <c:dLbl>
              <c:idx val="4"/>
              <c:layout>
                <c:manualLayout>
                  <c:x val="-5.0976655550262026E-2"/>
                  <c:y val="-0.189614101953311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78C-AD48-A4F8-1CA2ACAFFED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2.5995361405187607</c:v>
                </c:pt>
                <c:pt idx="1">
                  <c:v>15.876244558086997</c:v>
                </c:pt>
                <c:pt idx="2">
                  <c:v>34.036865664941516</c:v>
                </c:pt>
                <c:pt idx="3">
                  <c:v>39.07497197073333</c:v>
                </c:pt>
                <c:pt idx="4">
                  <c:v>8.41238166571941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78C-AD48-A4F8-1CA2ACAFFE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846891948268669E-2"/>
          <c:y val="2.24622030237581E-2"/>
          <c:w val="0.97830621610346269"/>
          <c:h val="0.9550755939524837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3.9703538300000001</c:v>
                </c:pt>
                <c:pt idx="1">
                  <c:v>3.45843882</c:v>
                </c:pt>
                <c:pt idx="2">
                  <c:v>1.61316324</c:v>
                </c:pt>
                <c:pt idx="3">
                  <c:v>0.85477046000000001</c:v>
                </c:pt>
                <c:pt idx="4">
                  <c:v>0.26413526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A-E047-98F6-55575C0C80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42626959"/>
        <c:axId val="1"/>
      </c:barChart>
      <c:catAx>
        <c:axId val="1742626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97035383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742626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F74075F-2862-789E-43C4-B2A6A886CBE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25F604-637F-C933-C73A-69D5AA287AB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625D2B-D275-4648-AEB6-9EB198A3407E}" type="datetimeFigureOut">
              <a:rPr lang="en-US" smtClean="0"/>
              <a:t>5/19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46D178-4062-0B81-30E6-CB1C4390A63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9B8552-FB54-E1D1-363E-7EAFB313AFB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852DA6-AAF0-4AA8-A622-740A307234A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504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E9E4C6-5ECD-4E08-9528-5F0B079507FD}" type="datetimeFigureOut">
              <a:rPr lang="en-US" smtClean="0"/>
              <a:t>5/1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CB43E47-B0A1-440F-A7D7-246B188E931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9255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1278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CB43E47-B0A1-440F-A7D7-246B188E931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7775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8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580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Financial graphs on a dark display">
            <a:extLst>
              <a:ext uri="{FF2B5EF4-FFF2-40B4-BE49-F238E27FC236}">
                <a16:creationId xmlns:a16="http://schemas.microsoft.com/office/drawing/2014/main" id="{F89D0516-22C1-9762-94F2-3CA5DB2F3D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468795-3CD7-AFB2-7045-1CFAAE244169}"/>
              </a:ext>
            </a:extLst>
          </p:cNvPr>
          <p:cNvSpPr/>
          <p:nvPr userDrawn="1"/>
        </p:nvSpPr>
        <p:spPr>
          <a:xfrm>
            <a:off x="9042400" y="0"/>
            <a:ext cx="3149600" cy="6096000"/>
          </a:xfrm>
          <a:prstGeom prst="rect">
            <a:avLst/>
          </a:prstGeom>
          <a:solidFill>
            <a:srgbClr val="A3A2A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7096126" y="19342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266873-A1DE-88F3-6E5C-42A632B6E35F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53" name="Text Placeholder 152">
            <a:extLst>
              <a:ext uri="{FF2B5EF4-FFF2-40B4-BE49-F238E27FC236}">
                <a16:creationId xmlns:a16="http://schemas.microsoft.com/office/drawing/2014/main" id="{2B079A6C-17E3-A91D-A967-48650CD7861C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45E31BE-B231-93D9-7129-86C1E0ACADE6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C78FB85E-C233-23CE-6991-27B19BF8BAA9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8481F1C8-047B-DBB8-D704-0D8E298ADF7E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7096126" y="417548"/>
            <a:ext cx="1441100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BEC0F07-3914-7A3B-8B89-45F9346E7C63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8299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043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117647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2509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0" y="0"/>
            <a:ext cx="4064002" cy="6530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264569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5" y="108070"/>
            <a:ext cx="1828800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27DECD3-BC54-EE3F-E5ED-C988EE15FD1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6724" y="6321067"/>
            <a:ext cx="7512719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778F60BB-1205-AB3C-FBE0-946F02EB464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559300" y="985520"/>
            <a:ext cx="7232650" cy="5195361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376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5055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618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3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5898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8127998" y="0"/>
            <a:ext cx="4064002" cy="653023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60D06B56-9838-81B0-CD64-7E1A498188A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2093647-CF0C-F221-9FFB-38F12B514CF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8EDC22B-84FB-5D3F-C57A-598565A0FAC5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B9804E7-B7F1-B38C-2C1F-9F18B752A3F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3432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6670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/2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7209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0D379E16-62EE-6186-1DF8-82727D329FAA}"/>
              </a:ext>
            </a:extLst>
          </p:cNvPr>
          <p:cNvSpPr/>
          <p:nvPr userDrawn="1"/>
        </p:nvSpPr>
        <p:spPr>
          <a:xfrm>
            <a:off x="6096000" y="0"/>
            <a:ext cx="6096000" cy="6527800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5394562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787B8A0-5869-0BDB-E5B4-754F1C0777E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5394562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16DA33D-EC56-D4D2-7575-4DCACF8ED7C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A79046C-F602-3FCD-273D-F9927512901F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92AD12B-0D05-AA79-6A70-BAA2F2F715B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2556" y="1384300"/>
            <a:ext cx="5394562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9187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</p:spTree>
    <p:extLst>
      <p:ext uri="{BB962C8B-B14F-4D97-AF65-F5344CB8AC3E}">
        <p14:creationId xmlns:p14="http://schemas.microsoft.com/office/powerpoint/2010/main" val="5471256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542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28000" y="0"/>
            <a:ext cx="4064000" cy="653022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52341DF-7700-FD77-6D8E-0578190184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2556" y="6321067"/>
            <a:ext cx="744604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97AB7BB6-D50E-3E2A-3E5A-8449F7D14A0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02556" y="1384300"/>
            <a:ext cx="7232650" cy="4774724"/>
          </a:xfrm>
          <a:prstGeom prst="rect">
            <a:avLst/>
          </a:prstGeom>
        </p:spPr>
        <p:txBody>
          <a:bodyPr/>
          <a:lstStyle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632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/3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7793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CC0FA27F-5806-B944-B5FC-380ADA16BEE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1" y="0"/>
            <a:ext cx="8127999" cy="6529388"/>
          </a:xfrm>
          <a:prstGeom prst="rect">
            <a:avLst/>
          </a:prstGeom>
          <a:solidFill>
            <a:srgbClr val="EAEAEA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3113001" cy="861774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9B2681D-5DBC-1811-EE32-418A551D8D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</p:spTree>
    <p:extLst>
      <p:ext uri="{BB962C8B-B14F-4D97-AF65-F5344CB8AC3E}">
        <p14:creationId xmlns:p14="http://schemas.microsoft.com/office/powerpoint/2010/main" val="880859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452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58309B60-F0F7-9E12-97CE-102A730E1422}"/>
              </a:ext>
            </a:extLst>
          </p:cNvPr>
          <p:cNvSpPr/>
          <p:nvPr userDrawn="1"/>
        </p:nvSpPr>
        <p:spPr>
          <a:xfrm>
            <a:off x="0" y="939800"/>
            <a:ext cx="12192000" cy="59182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FAD04D67-D663-FB4A-4471-BFCA32F84A9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81000" y="472399"/>
            <a:ext cx="1252286" cy="79510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298DD192-2EF0-F190-B910-7755CDF7CF6E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71DCBA8-4B14-DBBD-10EA-A2E8A1E16098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BB12F4BE-D51E-C5A5-A7D9-B48E13B995EF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7411B871-0CFC-FECB-4437-AE0CF3309BA5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8" name="Slide Number Placeholder 6">
            <a:extLst>
              <a:ext uri="{FF2B5EF4-FFF2-40B4-BE49-F238E27FC236}">
                <a16:creationId xmlns:a16="http://schemas.microsoft.com/office/drawing/2014/main" id="{2DD7F770-A06A-9296-B340-EA29333A774C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0D22DF00-103D-9D25-16E4-02C3FC83E32D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B644A9-8B6F-EE52-03B7-60764EFAB7D8}"/>
              </a:ext>
            </a:extLst>
          </p:cNvPr>
          <p:cNvCxnSpPr>
            <a:cxnSpLocks/>
          </p:cNvCxnSpPr>
          <p:nvPr userDrawn="1"/>
        </p:nvCxnSpPr>
        <p:spPr>
          <a:xfrm flipH="1">
            <a:off x="7492999" y="5524500"/>
            <a:ext cx="431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5D035C6-EDCE-8CF7-EBA1-C78ED3929EDE}"/>
              </a:ext>
            </a:extLst>
          </p:cNvPr>
          <p:cNvSpPr/>
          <p:nvPr userDrawn="1"/>
        </p:nvSpPr>
        <p:spPr>
          <a:xfrm rot="16200000" flipH="1" flipV="1">
            <a:off x="11637006" y="5350507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A79AF6-1B90-1F0C-A765-EA30497A7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0322" y="1734902"/>
            <a:ext cx="5984778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Quote text goes her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5C1F9E5C-E95B-3F17-6949-673CC04461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492999" y="5684124"/>
            <a:ext cx="43180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Author name</a:t>
            </a:r>
          </a:p>
        </p:txBody>
      </p:sp>
    </p:spTree>
    <p:extLst>
      <p:ext uri="{BB962C8B-B14F-4D97-AF65-F5344CB8AC3E}">
        <p14:creationId xmlns:p14="http://schemas.microsoft.com/office/powerpoint/2010/main" val="4564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138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33313F87-FB1D-8BF2-A8C1-302060E6AE8C}"/>
              </a:ext>
            </a:extLst>
          </p:cNvPr>
          <p:cNvSpPr/>
          <p:nvPr userDrawn="1"/>
        </p:nvSpPr>
        <p:spPr>
          <a:xfrm>
            <a:off x="2224491" y="6095992"/>
            <a:ext cx="9946663" cy="762009"/>
          </a:xfrm>
          <a:custGeom>
            <a:avLst/>
            <a:gdLst>
              <a:gd name="connsiteX0" fmla="*/ 2275863 w 9946663"/>
              <a:gd name="connsiteY0" fmla="*/ 0 h 762009"/>
              <a:gd name="connsiteX1" fmla="*/ 9946663 w 9946663"/>
              <a:gd name="connsiteY1" fmla="*/ 0 h 762009"/>
              <a:gd name="connsiteX2" fmla="*/ 9946663 w 9946663"/>
              <a:gd name="connsiteY2" fmla="*/ 762008 h 762009"/>
              <a:gd name="connsiteX3" fmla="*/ 2315322 w 9946663"/>
              <a:gd name="connsiteY3" fmla="*/ 762008 h 762009"/>
              <a:gd name="connsiteX4" fmla="*/ 2315322 w 9946663"/>
              <a:gd name="connsiteY4" fmla="*/ 762009 h 762009"/>
              <a:gd name="connsiteX5" fmla="*/ 2056351 w 9946663"/>
              <a:gd name="connsiteY5" fmla="*/ 762009 h 762009"/>
              <a:gd name="connsiteX6" fmla="*/ 1523857 w 9946663"/>
              <a:gd name="connsiteY6" fmla="*/ 762009 h 762009"/>
              <a:gd name="connsiteX7" fmla="*/ 0 w 9946663"/>
              <a:gd name="connsiteY7" fmla="*/ 762009 h 762009"/>
              <a:gd name="connsiteX8" fmla="*/ 773762 w 9946663"/>
              <a:gd name="connsiteY8" fmla="*/ 2 h 762009"/>
              <a:gd name="connsiteX9" fmla="*/ 2275863 w 9946663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46663" h="762009">
                <a:moveTo>
                  <a:pt x="2275863" y="0"/>
                </a:moveTo>
                <a:lnTo>
                  <a:pt x="9946663" y="0"/>
                </a:lnTo>
                <a:lnTo>
                  <a:pt x="9946663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5C4754B0-61A2-06F1-1BA3-CB301D8DF21F}"/>
              </a:ext>
            </a:extLst>
          </p:cNvPr>
          <p:cNvSpPr/>
          <p:nvPr userDrawn="1"/>
        </p:nvSpPr>
        <p:spPr>
          <a:xfrm>
            <a:off x="2387630" y="6095992"/>
            <a:ext cx="9804370" cy="762009"/>
          </a:xfrm>
          <a:custGeom>
            <a:avLst/>
            <a:gdLst>
              <a:gd name="connsiteX0" fmla="*/ 2275863 w 9804370"/>
              <a:gd name="connsiteY0" fmla="*/ 0 h 762009"/>
              <a:gd name="connsiteX1" fmla="*/ 9804370 w 9804370"/>
              <a:gd name="connsiteY1" fmla="*/ 0 h 762009"/>
              <a:gd name="connsiteX2" fmla="*/ 9804370 w 9804370"/>
              <a:gd name="connsiteY2" fmla="*/ 762008 h 762009"/>
              <a:gd name="connsiteX3" fmla="*/ 2315322 w 9804370"/>
              <a:gd name="connsiteY3" fmla="*/ 762008 h 762009"/>
              <a:gd name="connsiteX4" fmla="*/ 2315322 w 9804370"/>
              <a:gd name="connsiteY4" fmla="*/ 762009 h 762009"/>
              <a:gd name="connsiteX5" fmla="*/ 2056351 w 9804370"/>
              <a:gd name="connsiteY5" fmla="*/ 762009 h 762009"/>
              <a:gd name="connsiteX6" fmla="*/ 1523857 w 9804370"/>
              <a:gd name="connsiteY6" fmla="*/ 762009 h 762009"/>
              <a:gd name="connsiteX7" fmla="*/ 0 w 9804370"/>
              <a:gd name="connsiteY7" fmla="*/ 762009 h 762009"/>
              <a:gd name="connsiteX8" fmla="*/ 773762 w 9804370"/>
              <a:gd name="connsiteY8" fmla="*/ 2 h 762009"/>
              <a:gd name="connsiteX9" fmla="*/ 2275863 w 9804370"/>
              <a:gd name="connsiteY9" fmla="*/ 2 h 762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804370" h="762009">
                <a:moveTo>
                  <a:pt x="2275863" y="0"/>
                </a:moveTo>
                <a:lnTo>
                  <a:pt x="9804370" y="0"/>
                </a:lnTo>
                <a:lnTo>
                  <a:pt x="9804370" y="762008"/>
                </a:lnTo>
                <a:lnTo>
                  <a:pt x="2315322" y="762008"/>
                </a:lnTo>
                <a:lnTo>
                  <a:pt x="2315322" y="762009"/>
                </a:lnTo>
                <a:lnTo>
                  <a:pt x="2056351" y="762009"/>
                </a:lnTo>
                <a:lnTo>
                  <a:pt x="1523857" y="762009"/>
                </a:lnTo>
                <a:lnTo>
                  <a:pt x="0" y="762009"/>
                </a:lnTo>
                <a:lnTo>
                  <a:pt x="773762" y="2"/>
                </a:lnTo>
                <a:lnTo>
                  <a:pt x="2275863" y="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Rectangle: Single Corner Rounded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 flipV="1">
            <a:off x="9042400" y="-5"/>
            <a:ext cx="3149600" cy="6095998"/>
          </a:xfrm>
          <a:prstGeom prst="round1Rect">
            <a:avLst>
              <a:gd name="adj" fmla="val 0"/>
            </a:avLst>
          </a:prstGeom>
          <a:solidFill>
            <a:srgbClr val="0303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30" descr="Financial graphs on a dark display">
            <a:extLst>
              <a:ext uri="{FF2B5EF4-FFF2-40B4-BE49-F238E27FC236}">
                <a16:creationId xmlns:a16="http://schemas.microsoft.com/office/drawing/2014/main" id="{975A1636-12B5-18FE-17A3-9843737E47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17" r="775"/>
          <a:stretch/>
        </p:blipFill>
        <p:spPr>
          <a:xfrm>
            <a:off x="0" y="0"/>
            <a:ext cx="9042400" cy="609600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6E67DBC-DB3C-3936-CFEF-70AADFFAF88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97823" y="2106173"/>
            <a:ext cx="4613178" cy="1231106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197823" y="3463871"/>
            <a:ext cx="461317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8421" y="442557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197823" y="4252499"/>
            <a:ext cx="461317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Subtitle 2">
            <a:extLst>
              <a:ext uri="{FF2B5EF4-FFF2-40B4-BE49-F238E27FC236}">
                <a16:creationId xmlns:a16="http://schemas.microsoft.com/office/drawing/2014/main" id="{42E5E71E-1B87-BE65-9F17-797D0A5768E1}"/>
              </a:ext>
            </a:extLst>
          </p:cNvPr>
          <p:cNvSpPr txBox="1">
            <a:spLocks/>
          </p:cNvSpPr>
          <p:nvPr userDrawn="1"/>
        </p:nvSpPr>
        <p:spPr>
          <a:xfrm>
            <a:off x="7197823" y="193423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en-US" sz="1000" baseline="0">
                <a:solidFill>
                  <a:schemeClr val="bg1"/>
                </a:solidFill>
              </a:rPr>
              <a:t>© 2002-2022 think-cell Software GmbH</a:t>
            </a:r>
          </a:p>
        </p:txBody>
      </p:sp>
      <p:sp>
        <p:nvSpPr>
          <p:cNvPr id="62" name="Subtitle 2">
            <a:extLst>
              <a:ext uri="{FF2B5EF4-FFF2-40B4-BE49-F238E27FC236}">
                <a16:creationId xmlns:a16="http://schemas.microsoft.com/office/drawing/2014/main" id="{38E86078-230C-3EE1-5258-C44B1D43BC2F}"/>
              </a:ext>
            </a:extLst>
          </p:cNvPr>
          <p:cNvSpPr txBox="1">
            <a:spLocks/>
          </p:cNvSpPr>
          <p:nvPr userDrawn="1"/>
        </p:nvSpPr>
        <p:spPr>
          <a:xfrm>
            <a:off x="7197823" y="417548"/>
            <a:ext cx="148277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61450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0821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6EF0EB05-A812-5A56-5598-272C4A9E27BD}"/>
              </a:ext>
            </a:extLst>
          </p:cNvPr>
          <p:cNvSpPr/>
          <p:nvPr userDrawn="1"/>
        </p:nvSpPr>
        <p:spPr>
          <a:xfrm>
            <a:off x="0" y="0"/>
            <a:ext cx="12192000" cy="60293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1EC61C7-FCC8-334E-C596-244A4CD92337}"/>
              </a:ext>
            </a:extLst>
          </p:cNvPr>
          <p:cNvSpPr/>
          <p:nvPr userDrawn="1"/>
        </p:nvSpPr>
        <p:spPr>
          <a:xfrm rot="16200000">
            <a:off x="2268497" y="-730610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8B0EC855-A602-043A-E001-3D8D38F0C6CA}"/>
              </a:ext>
            </a:extLst>
          </p:cNvPr>
          <p:cNvCxnSpPr/>
          <p:nvPr userDrawn="1"/>
        </p:nvCxnSpPr>
        <p:spPr>
          <a:xfrm>
            <a:off x="-635651" y="0"/>
            <a:ext cx="0" cy="6029325"/>
          </a:xfrm>
          <a:prstGeom prst="line">
            <a:avLst/>
          </a:prstGeom>
          <a:ln>
            <a:solidFill>
              <a:schemeClr val="bg1">
                <a:alpha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3B47B30-C267-E0CD-A8E1-3E4FB85D8C58}"/>
              </a:ext>
            </a:extLst>
          </p:cNvPr>
          <p:cNvSpPr/>
          <p:nvPr userDrawn="1"/>
        </p:nvSpPr>
        <p:spPr>
          <a:xfrm rot="16200000">
            <a:off x="2103397" y="-730611"/>
            <a:ext cx="2427814" cy="6634609"/>
          </a:xfrm>
          <a:custGeom>
            <a:avLst/>
            <a:gdLst>
              <a:gd name="connsiteX0" fmla="*/ 0 w 2427814"/>
              <a:gd name="connsiteY0" fmla="*/ 0 h 6634609"/>
              <a:gd name="connsiteX1" fmla="*/ 7694 w 2427814"/>
              <a:gd name="connsiteY1" fmla="*/ 5239369 h 6634609"/>
              <a:gd name="connsiteX2" fmla="*/ 2427811 w 2427814"/>
              <a:gd name="connsiteY2" fmla="*/ 6634609 h 6634609"/>
              <a:gd name="connsiteX3" fmla="*/ 2427811 w 2427814"/>
              <a:gd name="connsiteY3" fmla="*/ 821219 h 6634609"/>
              <a:gd name="connsiteX4" fmla="*/ 2427814 w 2427814"/>
              <a:gd name="connsiteY4" fmla="*/ 821219 h 6634609"/>
              <a:gd name="connsiteX5" fmla="*/ 2427814 w 2427814"/>
              <a:gd name="connsiteY5" fmla="*/ 0 h 6634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27814" h="6634609">
                <a:moveTo>
                  <a:pt x="0" y="0"/>
                </a:moveTo>
                <a:lnTo>
                  <a:pt x="7694" y="5239369"/>
                </a:lnTo>
                <a:lnTo>
                  <a:pt x="2427811" y="6634609"/>
                </a:lnTo>
                <a:lnTo>
                  <a:pt x="2427811" y="821219"/>
                </a:lnTo>
                <a:lnTo>
                  <a:pt x="2427814" y="821219"/>
                </a:lnTo>
                <a:lnTo>
                  <a:pt x="2427814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30321" y="2077264"/>
            <a:ext cx="5108479" cy="615553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divider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520037-983E-8B35-8533-DBB6BD595C6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30322" y="2819409"/>
            <a:ext cx="484431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opic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/>
              <a:t>Strictly confidentia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52DDDD5-1FDD-3A0C-C64B-D4239711A12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05D6E55-720A-3198-F18B-FDE1619FFC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257095" y="4197514"/>
            <a:ext cx="2553905" cy="2391424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 algn="r">
              <a:buNone/>
              <a:defRPr sz="16600" b="1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2288794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steps/Ques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07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37" name="Picture 36" descr="Financial graphs on a dark display">
            <a:extLst>
              <a:ext uri="{FF2B5EF4-FFF2-40B4-BE49-F238E27FC236}">
                <a16:creationId xmlns:a16="http://schemas.microsoft.com/office/drawing/2014/main" id="{9019178B-77C1-81C1-38C6-C1201723E9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alphaModFix amt="1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00" b="10000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622268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Next steps/question</a:t>
            </a:r>
          </a:p>
        </p:txBody>
      </p:sp>
    </p:spTree>
    <p:extLst>
      <p:ext uri="{BB962C8B-B14F-4D97-AF65-F5344CB8AC3E}">
        <p14:creationId xmlns:p14="http://schemas.microsoft.com/office/powerpoint/2010/main" val="32416752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044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21E9584F-D93C-26E0-5BDA-190EE234FD6E}"/>
              </a:ext>
            </a:extLst>
          </p:cNvPr>
          <p:cNvSpPr/>
          <p:nvPr userDrawn="1"/>
        </p:nvSpPr>
        <p:spPr>
          <a:xfrm>
            <a:off x="0" y="0"/>
            <a:ext cx="12192000" cy="609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1" name="Subtitle 2">
            <a:extLst>
              <a:ext uri="{FF2B5EF4-FFF2-40B4-BE49-F238E27FC236}">
                <a16:creationId xmlns:a16="http://schemas.microsoft.com/office/drawing/2014/main" id="{D41E1225-291F-7BC7-759A-E21E46B2E7D5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F42447DA-CEE9-6049-10D2-0D214D2027C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F3FF31-54CB-9BE8-53D5-9BAEFF6FC556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30F30E4-A8AC-214A-08BF-8DDF2059BA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alphaModFix amt="14000"/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41" b="12541"/>
          <a:stretch/>
        </p:blipFill>
        <p:spPr>
          <a:xfrm>
            <a:off x="0" y="0"/>
            <a:ext cx="12192000" cy="609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5D9E91-A76C-876B-649B-17F95C4510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628900" y="2282567"/>
            <a:ext cx="6934200" cy="615553"/>
          </a:xfrm>
          <a:prstGeom prst="rect">
            <a:avLst/>
          </a:prstGeom>
        </p:spPr>
        <p:txBody>
          <a:bodyPr vert="horz" wrap="square" lIns="0" tIns="0" rIns="0" bIns="0" anchor="ctr">
            <a:spAutoFit/>
          </a:bodyPr>
          <a:lstStyle>
            <a:lvl1pPr algn="ctr" rtl="0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C8DAC7D-C950-BCBE-5F18-79302056C5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28900" y="3026935"/>
            <a:ext cx="69342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act us</a:t>
            </a:r>
          </a:p>
        </p:txBody>
      </p:sp>
    </p:spTree>
    <p:extLst>
      <p:ext uri="{BB962C8B-B14F-4D97-AF65-F5344CB8AC3E}">
        <p14:creationId xmlns:p14="http://schemas.microsoft.com/office/powerpoint/2010/main" val="3345448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9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27500" y="1258503"/>
            <a:ext cx="7683500" cy="49244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Name Last nam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5433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5433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5F8DBEB-BDE2-5958-4C95-588578A7DD2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1000" y="1371600"/>
            <a:ext cx="2590800" cy="2717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Person pictur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020185D3-479B-78FC-C25B-EB834447C0D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27500" y="1851550"/>
            <a:ext cx="7683500" cy="3323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Job Titl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CDD333D6-928E-C705-D5E0-4847042E55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27500" y="3262800"/>
            <a:ext cx="7683500" cy="14875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1pPr>
          </a:lstStyle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en-US"/>
              <a:t>In our 20 mins call, we will: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Answer your questions</a:t>
            </a:r>
          </a:p>
          <a:p>
            <a:pPr marL="342900" indent="-342900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/>
              <a:t>Show you the tool in action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70304043-7D3A-6CAE-5B87-A8F7C6D8BA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27500" y="5753100"/>
            <a:ext cx="1520823" cy="342900"/>
          </a:xfrm>
          <a:prstGeom prst="roundRect">
            <a:avLst/>
          </a:prstGeom>
          <a:solidFill>
            <a:srgbClr val="C52536"/>
          </a:solidFill>
        </p:spPr>
        <p:txBody>
          <a:bodyPr wrap="square" lIns="0" tIns="0" rIns="0" bIns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Schedule meeting</a:t>
            </a:r>
          </a:p>
        </p:txBody>
      </p:sp>
    </p:spTree>
    <p:extLst>
      <p:ext uri="{BB962C8B-B14F-4D97-AF65-F5344CB8AC3E}">
        <p14:creationId xmlns:p14="http://schemas.microsoft.com/office/powerpoint/2010/main" val="2511842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8238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Picture 24">
            <a:extLst>
              <a:ext uri="{FF2B5EF4-FFF2-40B4-BE49-F238E27FC236}">
                <a16:creationId xmlns:a16="http://schemas.microsoft.com/office/drawing/2014/main" id="{A1E5ACAB-541D-5FFE-618E-C61859E30A9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pic>
        <p:nvPicPr>
          <p:cNvPr id="6" name="Picture 5" descr="A picture containing text&#10;&#10;Description automatically generated">
            <a:extLst>
              <a:ext uri="{FF2B5EF4-FFF2-40B4-BE49-F238E27FC236}">
                <a16:creationId xmlns:a16="http://schemas.microsoft.com/office/drawing/2014/main" id="{8A045DBC-0863-9CF0-BDE9-CA86B2A019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0" r="6112"/>
          <a:stretch/>
        </p:blipFill>
        <p:spPr>
          <a:xfrm>
            <a:off x="0" y="0"/>
            <a:ext cx="8345714" cy="6172200"/>
          </a:xfrm>
          <a:prstGeom prst="rect">
            <a:avLst/>
          </a:prstGeom>
        </p:spPr>
      </p:pic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C69514C-1B0F-6A0E-BE4C-C31E54056940}"/>
              </a:ext>
            </a:extLst>
          </p:cNvPr>
          <p:cNvSpPr/>
          <p:nvPr userDrawn="1"/>
        </p:nvSpPr>
        <p:spPr>
          <a:xfrm>
            <a:off x="5080002" y="0"/>
            <a:ext cx="7111999" cy="6172200"/>
          </a:xfrm>
          <a:custGeom>
            <a:avLst/>
            <a:gdLst>
              <a:gd name="connsiteX0" fmla="*/ 2547946 w 7111999"/>
              <a:gd name="connsiteY0" fmla="*/ 0 h 6172200"/>
              <a:gd name="connsiteX1" fmla="*/ 7111999 w 7111999"/>
              <a:gd name="connsiteY1" fmla="*/ 0 h 6172200"/>
              <a:gd name="connsiteX2" fmla="*/ 7111999 w 7111999"/>
              <a:gd name="connsiteY2" fmla="*/ 6172200 h 6172200"/>
              <a:gd name="connsiteX3" fmla="*/ 0 w 711199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1999" h="6172200">
                <a:moveTo>
                  <a:pt x="2547946" y="0"/>
                </a:moveTo>
                <a:lnTo>
                  <a:pt x="7111999" y="0"/>
                </a:lnTo>
                <a:lnTo>
                  <a:pt x="7111999" y="6172200"/>
                </a:lnTo>
                <a:lnTo>
                  <a:pt x="0" y="61722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7A8CDEA5-EAAA-A676-F82B-9CA61D2E7CFC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7464455" y="1582341"/>
            <a:ext cx="4267200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6D8C160F-D910-2479-A7F2-A1E7104884F3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7464455" y="3555592"/>
            <a:ext cx="4267200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37" name="Text Placeholder 152">
            <a:extLst>
              <a:ext uri="{FF2B5EF4-FFF2-40B4-BE49-F238E27FC236}">
                <a16:creationId xmlns:a16="http://schemas.microsoft.com/office/drawing/2014/main" id="{671852A1-3087-FBE5-E1D4-5EEFE6BC44BB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464455" y="4517295"/>
            <a:ext cx="4267200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1B76A73D-61EE-F3DA-1B9B-251C6BF2D787}"/>
              </a:ext>
            </a:extLst>
          </p:cNvPr>
          <p:cNvCxnSpPr>
            <a:cxnSpLocks/>
          </p:cNvCxnSpPr>
          <p:nvPr userDrawn="1"/>
        </p:nvCxnSpPr>
        <p:spPr>
          <a:xfrm>
            <a:off x="7464455" y="4344220"/>
            <a:ext cx="42672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37379603-FF24-7E54-3E6B-76A750ACF3DF}"/>
              </a:ext>
            </a:extLst>
          </p:cNvPr>
          <p:cNvSpPr/>
          <p:nvPr userDrawn="1"/>
        </p:nvSpPr>
        <p:spPr>
          <a:xfrm>
            <a:off x="5070477" y="0"/>
            <a:ext cx="2693089" cy="6172200"/>
          </a:xfrm>
          <a:custGeom>
            <a:avLst/>
            <a:gdLst>
              <a:gd name="connsiteX0" fmla="*/ 2547946 w 2693089"/>
              <a:gd name="connsiteY0" fmla="*/ 0 h 6172200"/>
              <a:gd name="connsiteX1" fmla="*/ 2693089 w 2693089"/>
              <a:gd name="connsiteY1" fmla="*/ 0 h 6172200"/>
              <a:gd name="connsiteX2" fmla="*/ 145143 w 2693089"/>
              <a:gd name="connsiteY2" fmla="*/ 6172200 h 6172200"/>
              <a:gd name="connsiteX3" fmla="*/ 0 w 2693089"/>
              <a:gd name="connsiteY3" fmla="*/ 6172200 h 617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3089" h="6172200">
                <a:moveTo>
                  <a:pt x="2547946" y="0"/>
                </a:moveTo>
                <a:lnTo>
                  <a:pt x="2693089" y="0"/>
                </a:lnTo>
                <a:lnTo>
                  <a:pt x="145143" y="6172200"/>
                </a:lnTo>
                <a:lnTo>
                  <a:pt x="0" y="6172200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3AC5E79-A17B-BDB7-FB05-2F49576DAC8A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BC28CBA-9E9C-098B-DCE3-91A1B95F8389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2946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us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8426928-B814-9B0C-3004-18575D1EBB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4907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8426928-B814-9B0C-3004-18575D1EBB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5B9EC6B1-8B9D-1C7C-9E00-D629524FDBF6}"/>
              </a:ext>
            </a:extLst>
          </p:cNvPr>
          <p:cNvCxnSpPr/>
          <p:nvPr userDrawn="1"/>
        </p:nvCxnSpPr>
        <p:spPr>
          <a:xfrm>
            <a:off x="-52664" y="0"/>
            <a:ext cx="0" cy="6029325"/>
          </a:xfrm>
          <a:prstGeom prst="line">
            <a:avLst/>
          </a:prstGeom>
          <a:ln>
            <a:solidFill>
              <a:schemeClr val="bg1">
                <a:alpha val="12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5" name="Picture 184">
            <a:extLst>
              <a:ext uri="{FF2B5EF4-FFF2-40B4-BE49-F238E27FC236}">
                <a16:creationId xmlns:a16="http://schemas.microsoft.com/office/drawing/2014/main" id="{B328C01B-EF80-01E9-AE18-4F925708AE5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322" y="6320190"/>
            <a:ext cx="1488376" cy="345369"/>
          </a:xfrm>
          <a:prstGeom prst="rect">
            <a:avLst/>
          </a:prstGeom>
        </p:spPr>
      </p:pic>
      <p:sp>
        <p:nvSpPr>
          <p:cNvPr id="103" name="Freeform: Shape 102">
            <a:extLst>
              <a:ext uri="{FF2B5EF4-FFF2-40B4-BE49-F238E27FC236}">
                <a16:creationId xmlns:a16="http://schemas.microsoft.com/office/drawing/2014/main" id="{19CAD1A5-9E07-E722-F6D5-6DC532AFB851}"/>
              </a:ext>
            </a:extLst>
          </p:cNvPr>
          <p:cNvSpPr/>
          <p:nvPr userDrawn="1"/>
        </p:nvSpPr>
        <p:spPr>
          <a:xfrm rot="5400000" flipV="1">
            <a:off x="707004" y="4703908"/>
            <a:ext cx="685088" cy="2099096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16" name="Subtitle 2">
            <a:extLst>
              <a:ext uri="{FF2B5EF4-FFF2-40B4-BE49-F238E27FC236}">
                <a16:creationId xmlns:a16="http://schemas.microsoft.com/office/drawing/2014/main" id="{2AA77A88-2555-6FD4-37EC-96AA90E1C0E4}"/>
              </a:ext>
            </a:extLst>
          </p:cNvPr>
          <p:cNvSpPr txBox="1">
            <a:spLocks/>
          </p:cNvSpPr>
          <p:nvPr userDrawn="1"/>
        </p:nvSpPr>
        <p:spPr>
          <a:xfrm>
            <a:off x="9598055" y="6306782"/>
            <a:ext cx="221054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sp>
        <p:nvSpPr>
          <p:cNvPr id="194" name="Subtitle 2">
            <a:extLst>
              <a:ext uri="{FF2B5EF4-FFF2-40B4-BE49-F238E27FC236}">
                <a16:creationId xmlns:a16="http://schemas.microsoft.com/office/drawing/2014/main" id="{861201AD-B501-D41D-B031-E29A061FE13C}"/>
              </a:ext>
            </a:extLst>
          </p:cNvPr>
          <p:cNvSpPr txBox="1">
            <a:spLocks/>
          </p:cNvSpPr>
          <p:nvPr userDrawn="1"/>
        </p:nvSpPr>
        <p:spPr>
          <a:xfrm>
            <a:off x="10167070" y="6527060"/>
            <a:ext cx="1641527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000" baseline="0">
                <a:solidFill>
                  <a:schemeClr val="tx1"/>
                </a:solidFill>
              </a:rPr>
              <a:t>STRICTLY CONFIDENTIAL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C5F875F-AFE4-7F65-CC21-5CE3A6A2AF1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096000"/>
          </a:xfrm>
          <a:custGeom>
            <a:avLst/>
            <a:gdLst>
              <a:gd name="connsiteX0" fmla="*/ 6667500 w 12192000"/>
              <a:gd name="connsiteY0" fmla="*/ 939800 h 6096000"/>
              <a:gd name="connsiteX1" fmla="*/ 6667500 w 12192000"/>
              <a:gd name="connsiteY1" fmla="*/ 5486400 h 6096000"/>
              <a:gd name="connsiteX2" fmla="*/ 11811001 w 12192000"/>
              <a:gd name="connsiteY2" fmla="*/ 5486400 h 6096000"/>
              <a:gd name="connsiteX3" fmla="*/ 11811001 w 12192000"/>
              <a:gd name="connsiteY3" fmla="*/ 939800 h 6096000"/>
              <a:gd name="connsiteX4" fmla="*/ 0 w 12192000"/>
              <a:gd name="connsiteY4" fmla="*/ 0 h 6096000"/>
              <a:gd name="connsiteX5" fmla="*/ 12192000 w 12192000"/>
              <a:gd name="connsiteY5" fmla="*/ 0 h 6096000"/>
              <a:gd name="connsiteX6" fmla="*/ 12192000 w 12192000"/>
              <a:gd name="connsiteY6" fmla="*/ 6096000 h 6096000"/>
              <a:gd name="connsiteX7" fmla="*/ 2099096 w 12192000"/>
              <a:gd name="connsiteY7" fmla="*/ 6096000 h 6096000"/>
              <a:gd name="connsiteX8" fmla="*/ 1397595 w 12192000"/>
              <a:gd name="connsiteY8" fmla="*/ 5410912 h 6096000"/>
              <a:gd name="connsiteX9" fmla="*/ 0 w 12192000"/>
              <a:gd name="connsiteY9" fmla="*/ 5410912 h 609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096000">
                <a:moveTo>
                  <a:pt x="6667500" y="939800"/>
                </a:moveTo>
                <a:lnTo>
                  <a:pt x="6667500" y="5486400"/>
                </a:lnTo>
                <a:lnTo>
                  <a:pt x="11811001" y="5486400"/>
                </a:lnTo>
                <a:lnTo>
                  <a:pt x="11811001" y="9398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096000"/>
                </a:lnTo>
                <a:lnTo>
                  <a:pt x="2099096" y="6096000"/>
                </a:lnTo>
                <a:lnTo>
                  <a:pt x="1397595" y="5410912"/>
                </a:lnTo>
                <a:lnTo>
                  <a:pt x="0" y="54109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lIns="377190" tIns="331470" rIns="377190" bIns="33147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insert picture her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3FFB0D0-0570-48A3-D906-910EEE8F486C}"/>
              </a:ext>
            </a:extLst>
          </p:cNvPr>
          <p:cNvSpPr/>
          <p:nvPr userDrawn="1"/>
        </p:nvSpPr>
        <p:spPr>
          <a:xfrm>
            <a:off x="6667500" y="939800"/>
            <a:ext cx="5143501" cy="454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2B05F00E-B5B1-4A19-1203-70FAAD146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096126" y="2054318"/>
            <a:ext cx="4443064" cy="1846659"/>
          </a:xfrm>
          <a:prstGeom prst="rect">
            <a:avLst/>
          </a:prstGeom>
        </p:spPr>
        <p:txBody>
          <a:bodyPr vert="horz" wrap="square" lIns="0" tIns="0" rIns="0" bIns="0" anchor="b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40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Sales Presentation and Board Deck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B8E5546-55F1-299D-08CD-395EC6CD53C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096126" y="4027569"/>
            <a:ext cx="4443064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 of the presentation or presenter name and title</a:t>
            </a:r>
          </a:p>
        </p:txBody>
      </p:sp>
      <p:sp>
        <p:nvSpPr>
          <p:cNvPr id="11" name="Text Placeholder 152">
            <a:extLst>
              <a:ext uri="{FF2B5EF4-FFF2-40B4-BE49-F238E27FC236}">
                <a16:creationId xmlns:a16="http://schemas.microsoft.com/office/drawing/2014/main" id="{ED924610-3364-403B-7375-088B45CFBB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26610" y="4901824"/>
            <a:ext cx="4613178" cy="1938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D-MM-YY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4533200-1F81-2552-6164-668D931F0819}"/>
              </a:ext>
            </a:extLst>
          </p:cNvPr>
          <p:cNvCxnSpPr>
            <a:cxnSpLocks/>
          </p:cNvCxnSpPr>
          <p:nvPr userDrawn="1"/>
        </p:nvCxnSpPr>
        <p:spPr>
          <a:xfrm>
            <a:off x="6926012" y="4728749"/>
            <a:ext cx="4613178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reeform: Shape 108">
            <a:extLst>
              <a:ext uri="{FF2B5EF4-FFF2-40B4-BE49-F238E27FC236}">
                <a16:creationId xmlns:a16="http://schemas.microsoft.com/office/drawing/2014/main" id="{089E96A4-E3B7-1AEE-A0C9-C2B06CFFCDE7}"/>
              </a:ext>
            </a:extLst>
          </p:cNvPr>
          <p:cNvSpPr/>
          <p:nvPr userDrawn="1"/>
        </p:nvSpPr>
        <p:spPr>
          <a:xfrm rot="16200000" flipH="1" flipV="1">
            <a:off x="11365197" y="4554756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DCDFE5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Freeform: Shape 112">
            <a:extLst>
              <a:ext uri="{FF2B5EF4-FFF2-40B4-BE49-F238E27FC236}">
                <a16:creationId xmlns:a16="http://schemas.microsoft.com/office/drawing/2014/main" id="{3CE9F2F0-9D95-96A2-6C8D-514FCE3C2F80}"/>
              </a:ext>
            </a:extLst>
          </p:cNvPr>
          <p:cNvSpPr/>
          <p:nvPr userDrawn="1"/>
        </p:nvSpPr>
        <p:spPr>
          <a:xfrm flipH="1">
            <a:off x="6926012" y="1852612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85C2BFF-6C4C-5C66-2BAE-D85ADE68EC57}"/>
              </a:ext>
            </a:extLst>
          </p:cNvPr>
          <p:cNvCxnSpPr>
            <a:cxnSpLocks/>
          </p:cNvCxnSpPr>
          <p:nvPr userDrawn="1"/>
        </p:nvCxnSpPr>
        <p:spPr>
          <a:xfrm>
            <a:off x="6926012" y="1847850"/>
            <a:ext cx="0" cy="2880899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599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2602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94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11294645" cy="4715435"/>
          </a:xfrm>
          <a:prstGeom prst="rect">
            <a:avLst/>
          </a:prstGeom>
        </p:spPr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3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reeform: Shape 8">
            <a:extLst>
              <a:ext uri="{FF2B5EF4-FFF2-40B4-BE49-F238E27FC236}">
                <a16:creationId xmlns:a16="http://schemas.microsoft.com/office/drawing/2014/main" id="{10559E5D-F7EC-2639-924D-54E527B393F8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85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reeform: Shape 8">
            <a:extLst>
              <a:ext uri="{FF2B5EF4-FFF2-40B4-BE49-F238E27FC236}">
                <a16:creationId xmlns:a16="http://schemas.microsoft.com/office/drawing/2014/main" id="{C7613F55-E39C-8E3D-2494-61EAACEBC35C}"/>
              </a:ext>
            </a:extLst>
          </p:cNvPr>
          <p:cNvSpPr/>
          <p:nvPr userDrawn="1"/>
        </p:nvSpPr>
        <p:spPr>
          <a:xfrm>
            <a:off x="402557" y="138074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: Shape 18">
            <a:extLst>
              <a:ext uri="{FF2B5EF4-FFF2-40B4-BE49-F238E27FC236}">
                <a16:creationId xmlns:a16="http://schemas.microsoft.com/office/drawing/2014/main" id="{B8B6FB89-6E25-58E8-69D4-25D7688B0F83}"/>
              </a:ext>
            </a:extLst>
          </p:cNvPr>
          <p:cNvSpPr/>
          <p:nvPr userDrawn="1"/>
        </p:nvSpPr>
        <p:spPr>
          <a:xfrm>
            <a:off x="6325456" y="1380564"/>
            <a:ext cx="5504330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5" y="146544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E8630DBE-78DD-7B04-4D67-1010487CC4C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0204" y="1465266"/>
            <a:ext cx="5598695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8378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747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7" y="370734"/>
            <a:ext cx="10087643" cy="430887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28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A5697B-520A-E5F2-D74E-EB8AB77567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2556" y="108070"/>
            <a:ext cx="1828800" cy="15234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ON PAGE TRACK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2B0A06-23B3-5ECF-8269-EB15920D5C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2556" y="6321067"/>
            <a:ext cx="11389394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 rtl="0">
              <a:buNone/>
              <a:defRPr sz="10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/>
              <a:t>Footnote/Sourc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E3D101A-6690-B914-CD9E-B29701DF1D9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97306" y="1465446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Freeform: Shape 22">
            <a:extLst>
              <a:ext uri="{FF2B5EF4-FFF2-40B4-BE49-F238E27FC236}">
                <a16:creationId xmlns:a16="http://schemas.microsoft.com/office/drawing/2014/main" id="{AD5492B1-CBF7-4E2B-EDA7-EB361EFD74AB}"/>
              </a:ext>
            </a:extLst>
          </p:cNvPr>
          <p:cNvSpPr/>
          <p:nvPr userDrawn="1"/>
        </p:nvSpPr>
        <p:spPr>
          <a:xfrm>
            <a:off x="402557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23">
            <a:extLst>
              <a:ext uri="{FF2B5EF4-FFF2-40B4-BE49-F238E27FC236}">
                <a16:creationId xmlns:a16="http://schemas.microsoft.com/office/drawing/2014/main" id="{FE9B8148-C48F-0244-6FBF-DC26B106E084}"/>
              </a:ext>
            </a:extLst>
          </p:cNvPr>
          <p:cNvSpPr/>
          <p:nvPr userDrawn="1"/>
        </p:nvSpPr>
        <p:spPr>
          <a:xfrm>
            <a:off x="432117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24">
            <a:extLst>
              <a:ext uri="{FF2B5EF4-FFF2-40B4-BE49-F238E27FC236}">
                <a16:creationId xmlns:a16="http://schemas.microsoft.com/office/drawing/2014/main" id="{C043D967-DF3C-48AD-09C5-EEE4609CFDB2}"/>
              </a:ext>
            </a:extLst>
          </p:cNvPr>
          <p:cNvSpPr/>
          <p:nvPr userDrawn="1"/>
        </p:nvSpPr>
        <p:spPr>
          <a:xfrm>
            <a:off x="8239125" y="1380564"/>
            <a:ext cx="3572002" cy="4715435"/>
          </a:xfrm>
          <a:custGeom>
            <a:avLst/>
            <a:gdLst>
              <a:gd name="connsiteX0" fmla="*/ 5504330 w 5504330"/>
              <a:gd name="connsiteY0" fmla="*/ 0 h 4625788"/>
              <a:gd name="connsiteX1" fmla="*/ 0 w 5504330"/>
              <a:gd name="connsiteY1" fmla="*/ 0 h 4625788"/>
              <a:gd name="connsiteX2" fmla="*/ 0 w 5504330"/>
              <a:gd name="connsiteY2" fmla="*/ 4625788 h 4625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04330" h="4625788">
                <a:moveTo>
                  <a:pt x="5504330" y="0"/>
                </a:moveTo>
                <a:lnTo>
                  <a:pt x="0" y="0"/>
                </a:lnTo>
                <a:lnTo>
                  <a:pt x="0" y="4625788"/>
                </a:lnTo>
              </a:path>
            </a:pathLst>
          </a:cu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0DF8C94D-88FA-4904-43A6-4B6C22FCC3F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1234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:a16="http://schemas.microsoft.com/office/drawing/2014/main" id="{F4B9155F-20A0-327A-21D7-329B67DAE46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36057" y="1465444"/>
            <a:ext cx="3616098" cy="47154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600">
                <a:solidFill>
                  <a:schemeClr val="accent3"/>
                </a:solidFill>
              </a:defRPr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123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ED57F351-0117-670F-B86B-4297A7303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782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ED57F351-0117-670F-B86B-4297A73030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1B5F980-C0F6-5D6F-2A1C-5391CB8F5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2557" y="1257300"/>
            <a:ext cx="2569242" cy="615553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en-US"/>
              <a:t>Agenda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C42A4A5-54CF-06F1-DCDE-C706BC257F48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37AF78E-858D-D6AC-448F-8F635261C259}"/>
              </a:ext>
            </a:extLst>
          </p:cNvPr>
          <p:cNvCxnSpPr>
            <a:cxnSpLocks/>
          </p:cNvCxnSpPr>
          <p:nvPr userDrawn="1"/>
        </p:nvCxnSpPr>
        <p:spPr>
          <a:xfrm>
            <a:off x="3365500" y="1371600"/>
            <a:ext cx="0" cy="472440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E1E40DA-B9A9-D442-B77E-42AB3E670CD2}"/>
              </a:ext>
            </a:extLst>
          </p:cNvPr>
          <p:cNvSpPr/>
          <p:nvPr userDrawn="1"/>
        </p:nvSpPr>
        <p:spPr>
          <a:xfrm flipH="1">
            <a:off x="3365500" y="1371600"/>
            <a:ext cx="85626" cy="262360"/>
          </a:xfrm>
          <a:custGeom>
            <a:avLst/>
            <a:gdLst>
              <a:gd name="connsiteX0" fmla="*/ 685088 w 685088"/>
              <a:gd name="connsiteY0" fmla="*/ 0 h 2099096"/>
              <a:gd name="connsiteX1" fmla="*/ 685088 w 685088"/>
              <a:gd name="connsiteY1" fmla="*/ 234785 h 2099096"/>
              <a:gd name="connsiteX2" fmla="*/ 685088 w 685088"/>
              <a:gd name="connsiteY2" fmla="*/ 717550 h 2099096"/>
              <a:gd name="connsiteX3" fmla="*/ 685088 w 685088"/>
              <a:gd name="connsiteY3" fmla="*/ 2099096 h 2099096"/>
              <a:gd name="connsiteX4" fmla="*/ 0 w 685088"/>
              <a:gd name="connsiteY4" fmla="*/ 1397595 h 2099096"/>
              <a:gd name="connsiteX5" fmla="*/ 0 w 685088"/>
              <a:gd name="connsiteY5" fmla="*/ 0 h 2099096"/>
              <a:gd name="connsiteX6" fmla="*/ 323138 w 685088"/>
              <a:gd name="connsiteY6" fmla="*/ 0 h 2099096"/>
              <a:gd name="connsiteX7" fmla="*/ 450302 w 685088"/>
              <a:gd name="connsiteY7" fmla="*/ 0 h 2099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088" h="2099096">
                <a:moveTo>
                  <a:pt x="685088" y="0"/>
                </a:moveTo>
                <a:lnTo>
                  <a:pt x="685088" y="234785"/>
                </a:lnTo>
                <a:lnTo>
                  <a:pt x="685088" y="717550"/>
                </a:lnTo>
                <a:lnTo>
                  <a:pt x="685088" y="2099096"/>
                </a:lnTo>
                <a:lnTo>
                  <a:pt x="0" y="1397595"/>
                </a:lnTo>
                <a:lnTo>
                  <a:pt x="0" y="0"/>
                </a:lnTo>
                <a:lnTo>
                  <a:pt x="323138" y="0"/>
                </a:lnTo>
                <a:lnTo>
                  <a:pt x="450302" y="0"/>
                </a:lnTo>
                <a:close/>
              </a:path>
            </a:pathLst>
          </a:custGeom>
          <a:solidFill>
            <a:srgbClr val="C52536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8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949233-A941-D356-5F3A-13F00A15FA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036357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81" imgH="381" progId="TCLayout.ActiveDocument.1">
                  <p:embed/>
                </p:oleObj>
              </mc:Choice>
              <mc:Fallback>
                <p:oleObj name="think-cell Slide" r:id="rId26" imgW="381" imgH="38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949233-A941-D356-5F3A-13F00A15F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2DC53A8D-FE22-665F-2404-A4CD8E92E2A3}"/>
              </a:ext>
            </a:extLst>
          </p:cNvPr>
          <p:cNvSpPr/>
          <p:nvPr userDrawn="1"/>
        </p:nvSpPr>
        <p:spPr>
          <a:xfrm>
            <a:off x="0" y="6530230"/>
            <a:ext cx="5119084" cy="32777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5436A8DA-43C9-CAAE-A4A0-C0F3490DE5FE}"/>
              </a:ext>
            </a:extLst>
          </p:cNvPr>
          <p:cNvSpPr/>
          <p:nvPr userDrawn="1"/>
        </p:nvSpPr>
        <p:spPr>
          <a:xfrm>
            <a:off x="2772540" y="6530230"/>
            <a:ext cx="9419459" cy="327771"/>
          </a:xfrm>
          <a:custGeom>
            <a:avLst/>
            <a:gdLst>
              <a:gd name="connsiteX0" fmla="*/ 332828 w 9419459"/>
              <a:gd name="connsiteY0" fmla="*/ 0 h 327771"/>
              <a:gd name="connsiteX1" fmla="*/ 9419459 w 9419459"/>
              <a:gd name="connsiteY1" fmla="*/ 0 h 327771"/>
              <a:gd name="connsiteX2" fmla="*/ 9419459 w 9419459"/>
              <a:gd name="connsiteY2" fmla="*/ 327770 h 327771"/>
              <a:gd name="connsiteX3" fmla="*/ 2315323 w 9419459"/>
              <a:gd name="connsiteY3" fmla="*/ 327770 h 327771"/>
              <a:gd name="connsiteX4" fmla="*/ 2315323 w 9419459"/>
              <a:gd name="connsiteY4" fmla="*/ 327771 h 327771"/>
              <a:gd name="connsiteX5" fmla="*/ 2056351 w 9419459"/>
              <a:gd name="connsiteY5" fmla="*/ 327771 h 327771"/>
              <a:gd name="connsiteX6" fmla="*/ 1523857 w 9419459"/>
              <a:gd name="connsiteY6" fmla="*/ 327771 h 327771"/>
              <a:gd name="connsiteX7" fmla="*/ 0 w 9419459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419459" h="327771">
                <a:moveTo>
                  <a:pt x="332828" y="0"/>
                </a:moveTo>
                <a:lnTo>
                  <a:pt x="9419459" y="0"/>
                </a:lnTo>
                <a:lnTo>
                  <a:pt x="9419459" y="327770"/>
                </a:lnTo>
                <a:lnTo>
                  <a:pt x="2315323" y="327770"/>
                </a:lnTo>
                <a:lnTo>
                  <a:pt x="2315323" y="327771"/>
                </a:lnTo>
                <a:lnTo>
                  <a:pt x="2056351" y="327771"/>
                </a:lnTo>
                <a:lnTo>
                  <a:pt x="1523857" y="327771"/>
                </a:lnTo>
                <a:lnTo>
                  <a:pt x="0" y="327771"/>
                </a:lnTo>
                <a:close/>
              </a:path>
            </a:pathLst>
          </a:custGeom>
          <a:solidFill>
            <a:srgbClr val="C525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69E3A92-83BC-2EDB-86BE-9426990F08B2}"/>
              </a:ext>
            </a:extLst>
          </p:cNvPr>
          <p:cNvSpPr txBox="1">
            <a:spLocks/>
          </p:cNvSpPr>
          <p:nvPr userDrawn="1"/>
        </p:nvSpPr>
        <p:spPr>
          <a:xfrm>
            <a:off x="356959" y="6640393"/>
            <a:ext cx="222176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None/>
            </a:pPr>
            <a:r>
              <a:rPr lang="en-US" sz="1000" baseline="0">
                <a:solidFill>
                  <a:schemeClr val="tx1"/>
                </a:solidFill>
              </a:rPr>
              <a:t>© 2002-2022 think-cell Software GmbH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B9813DD-0B19-A06D-8B01-418F9828095E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4084" y="465112"/>
            <a:ext cx="1036913" cy="240609"/>
          </a:xfrm>
          <a:prstGeom prst="rect">
            <a:avLst/>
          </a:prstGeom>
        </p:spPr>
      </p:pic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0165F90-4524-1A9A-4708-DBAAED701FFE}"/>
              </a:ext>
            </a:extLst>
          </p:cNvPr>
          <p:cNvCxnSpPr>
            <a:cxnSpLocks/>
          </p:cNvCxnSpPr>
          <p:nvPr userDrawn="1"/>
        </p:nvCxnSpPr>
        <p:spPr>
          <a:xfrm>
            <a:off x="10641239" y="370734"/>
            <a:ext cx="0" cy="429366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F768E3BD-23D0-BFE8-A6E8-4B7A30A39183}"/>
              </a:ext>
            </a:extLst>
          </p:cNvPr>
          <p:cNvSpPr/>
          <p:nvPr userDrawn="1"/>
        </p:nvSpPr>
        <p:spPr>
          <a:xfrm flipH="1">
            <a:off x="2935679" y="6530230"/>
            <a:ext cx="9256320" cy="327771"/>
          </a:xfrm>
          <a:custGeom>
            <a:avLst/>
            <a:gdLst>
              <a:gd name="connsiteX0" fmla="*/ 8923493 w 9256320"/>
              <a:gd name="connsiteY0" fmla="*/ 0 h 327771"/>
              <a:gd name="connsiteX1" fmla="*/ 0 w 9256320"/>
              <a:gd name="connsiteY1" fmla="*/ 0 h 327771"/>
              <a:gd name="connsiteX2" fmla="*/ 0 w 9256320"/>
              <a:gd name="connsiteY2" fmla="*/ 327770 h 327771"/>
              <a:gd name="connsiteX3" fmla="*/ 6940998 w 9256320"/>
              <a:gd name="connsiteY3" fmla="*/ 327770 h 327771"/>
              <a:gd name="connsiteX4" fmla="*/ 6940998 w 9256320"/>
              <a:gd name="connsiteY4" fmla="*/ 327771 h 327771"/>
              <a:gd name="connsiteX5" fmla="*/ 7199969 w 9256320"/>
              <a:gd name="connsiteY5" fmla="*/ 327771 h 327771"/>
              <a:gd name="connsiteX6" fmla="*/ 7732463 w 9256320"/>
              <a:gd name="connsiteY6" fmla="*/ 327771 h 327771"/>
              <a:gd name="connsiteX7" fmla="*/ 9256320 w 9256320"/>
              <a:gd name="connsiteY7" fmla="*/ 327771 h 327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256320" h="327771">
                <a:moveTo>
                  <a:pt x="8923493" y="0"/>
                </a:moveTo>
                <a:lnTo>
                  <a:pt x="0" y="0"/>
                </a:lnTo>
                <a:lnTo>
                  <a:pt x="0" y="327770"/>
                </a:lnTo>
                <a:lnTo>
                  <a:pt x="6940998" y="327770"/>
                </a:lnTo>
                <a:lnTo>
                  <a:pt x="6940998" y="327771"/>
                </a:lnTo>
                <a:lnTo>
                  <a:pt x="7199969" y="327771"/>
                </a:lnTo>
                <a:lnTo>
                  <a:pt x="7732463" y="327771"/>
                </a:lnTo>
                <a:lnTo>
                  <a:pt x="9256320" y="327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it-IT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5AC7E640-4A5D-9BA8-123E-BA1ACBFAD50D}"/>
              </a:ext>
            </a:extLst>
          </p:cNvPr>
          <p:cNvSpPr txBox="1">
            <a:spLocks/>
          </p:cNvSpPr>
          <p:nvPr userDrawn="1"/>
        </p:nvSpPr>
        <p:spPr>
          <a:xfrm>
            <a:off x="11413198" y="6617170"/>
            <a:ext cx="34049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DF24D05E-FF6A-42BC-8F81-B4FE03159EF9}" type="slidenum">
              <a:rPr lang="en-US" smtClean="0">
                <a:solidFill>
                  <a:schemeClr val="bg1"/>
                </a:solidFill>
              </a:rPr>
              <a:pPr algn="r"/>
              <a:t>‹#›</a:t>
            </a:fld>
            <a:endParaRPr lang="en-US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5E60701-532B-D537-A5C5-733EEADAB4CB}"/>
              </a:ext>
            </a:extLst>
          </p:cNvPr>
          <p:cNvSpPr txBox="1">
            <a:spLocks/>
          </p:cNvSpPr>
          <p:nvPr userDrawn="1"/>
        </p:nvSpPr>
        <p:spPr>
          <a:xfrm>
            <a:off x="5557391" y="6640393"/>
            <a:ext cx="1077218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000" baseline="0">
                <a:solidFill>
                  <a:schemeClr val="bg1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8397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62" r:id="rId3"/>
    <p:sldLayoutId id="2147483663" r:id="rId4"/>
    <p:sldLayoutId id="2147483652" r:id="rId5"/>
    <p:sldLayoutId id="2147483682" r:id="rId6"/>
    <p:sldLayoutId id="2147483687" r:id="rId7"/>
    <p:sldLayoutId id="2147483688" r:id="rId8"/>
    <p:sldLayoutId id="2147483677" r:id="rId9"/>
    <p:sldLayoutId id="2147483665" r:id="rId10"/>
    <p:sldLayoutId id="2147483683" r:id="rId11"/>
    <p:sldLayoutId id="2147483674" r:id="rId12"/>
    <p:sldLayoutId id="2147483684" r:id="rId13"/>
    <p:sldLayoutId id="2147483675" r:id="rId14"/>
    <p:sldLayoutId id="2147483685" r:id="rId15"/>
    <p:sldLayoutId id="2147483658" r:id="rId16"/>
    <p:sldLayoutId id="2147483686" r:id="rId17"/>
    <p:sldLayoutId id="2147483659" r:id="rId18"/>
    <p:sldLayoutId id="2147483667" r:id="rId19"/>
    <p:sldLayoutId id="2147483661" r:id="rId20"/>
    <p:sldLayoutId id="2147483678" r:id="rId21"/>
    <p:sldLayoutId id="2147483680" r:id="rId22"/>
    <p:sldLayoutId id="214748368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92" userDrawn="1">
          <p15:clr>
            <a:srgbClr val="F26B43"/>
          </p15:clr>
        </p15:guide>
        <p15:guide id="2" pos="240" userDrawn="1">
          <p15:clr>
            <a:srgbClr val="F26B43"/>
          </p15:clr>
        </p15:guide>
        <p15:guide id="3" pos="7440" userDrawn="1">
          <p15:clr>
            <a:srgbClr val="F26B43"/>
          </p15:clr>
        </p15:guide>
        <p15:guide id="4" orient="horz" pos="3840" userDrawn="1">
          <p15:clr>
            <a:srgbClr val="F26B43"/>
          </p15:clr>
        </p15:guide>
        <p15:guide id="5" orient="horz" pos="8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image" Target="../media/image3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oleObject" Target="../embeddings/oleObject25.bin"/><Relationship Id="rId2" Type="http://schemas.openxmlformats.org/officeDocument/2006/relationships/tags" Target="../tags/tag27.xml"/><Relationship Id="rId16" Type="http://schemas.openxmlformats.org/officeDocument/2006/relationships/notesSlide" Target="../notesSlides/notesSlide1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5" Type="http://schemas.openxmlformats.org/officeDocument/2006/relationships/slideLayout" Target="../slideLayouts/slideLayout12.xml"/><Relationship Id="rId10" Type="http://schemas.openxmlformats.org/officeDocument/2006/relationships/tags" Target="../tags/tag35.xml"/><Relationship Id="rId19" Type="http://schemas.openxmlformats.org/officeDocument/2006/relationships/chart" Target="../charts/chart1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chart" Target="../charts/chart2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3.emf"/><Relationship Id="rId2" Type="http://schemas.openxmlformats.org/officeDocument/2006/relationships/tags" Target="../tags/tag41.xml"/><Relationship Id="rId16" Type="http://schemas.openxmlformats.org/officeDocument/2006/relationships/oleObject" Target="../embeddings/oleObject26.bin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8934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47" imgH="348" progId="TCLayout.ActiveDocument.1">
                  <p:embed/>
                </p:oleObj>
              </mc:Choice>
              <mc:Fallback>
                <p:oleObj name="think-cell Slide" r:id="rId17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 2019, France consumed more nuclear than any other energy form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FB775A-929C-D9EF-85B0-F289690B85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5983" y="5961661"/>
            <a:ext cx="7446044" cy="138499"/>
          </a:xfrm>
        </p:spPr>
        <p:txBody>
          <a:bodyPr/>
          <a:lstStyle/>
          <a:p>
            <a:r>
              <a:rPr lang="en-US" dirty="0"/>
              <a:t>Kristen Sosulski | International Energy Agency (2023)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392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 bar chart would  better show the </a:t>
            </a:r>
            <a:r>
              <a:rPr lang="en-US" altLang="en-US" sz="1400" dirty="0">
                <a:solidFill>
                  <a:prstClr val="black"/>
                </a:solidFill>
              </a:rPr>
              <a:t>information. 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olor: The colors contrast needs improvement, used the same color for all bars (or wedges if pie chart is used)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Text and labels: Pie wedges or bars could be directly labeled and legend omitted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Readability:  Omit italicized front from chart title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>
                <a:solidFill>
                  <a:prstClr val="black"/>
                </a:solidFill>
              </a:rPr>
              <a:t>Readability: change font face from a serif font to a sans serif font such as Arial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8" name="Chart 57">
            <a:extLst>
              <a:ext uri="{FF2B5EF4-FFF2-40B4-BE49-F238E27FC236}">
                <a16:creationId xmlns:a16="http://schemas.microsoft.com/office/drawing/2014/main" id="{6420D178-CAC3-2A5F-53E1-AF1F42766623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2203450" y="2508250"/>
          <a:ext cx="3332163" cy="3332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6" name="Rectangle 55">
            <a:extLst>
              <a:ext uri="{FF2B5EF4-FFF2-40B4-BE49-F238E27FC236}">
                <a16:creationId xmlns:a16="http://schemas.microsoft.com/office/drawing/2014/main" id="{006879C7-D5F8-982A-4A17-12A0970C623F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833813" y="2620963"/>
            <a:ext cx="307975" cy="19208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CFEC6A8-395B-4BA3-920A-C1FA35284C2C}" type="datetime'''''''''''''''''''''3''''''%'">
              <a:rPr lang="en-US" altLang="en-US" sz="1400" smtClean="0">
                <a:solidFill>
                  <a:schemeClr val="bg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%</a:t>
            </a:fld>
            <a:endParaRPr lang="en-US" sz="1400">
              <a:solidFill>
                <a:schemeClr val="bg1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3BCF78C-D303-B128-69A2-3C77C259209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445125" y="2886075"/>
            <a:ext cx="250825" cy="187325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BE70B6F-B32D-4D40-1A21-66E5073F3077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5445125" y="2622550"/>
            <a:ext cx="250825" cy="187325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BAAC9D6-3AE9-B5BD-D6E5-CF080D939AE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5445125" y="1831975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3B5964E-9D58-076F-2BBD-329F5482AE9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445125" y="2095500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8961BF4-9DC2-28F0-484C-7BB98C9DF33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445125" y="2359025"/>
            <a:ext cx="250825" cy="187325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43B4A63-A9F2-9FB3-BFC4-E2A1089878B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5746750" y="2090738"/>
            <a:ext cx="9064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A639400-A903-4405-B0F4-0FE1B40AF82F}" type="datetime'''''''N''a''''''''t''''''u''''''r''''''''a''''l ''g''a''''''s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Natural ga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D01BCBB-5C9A-C254-7959-2E4D55012727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5746750" y="2617788"/>
            <a:ext cx="6111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EF7F2B98-EEBA-4800-8948-14D1BEE2AC05}" type="datetime'''''''Nu''''''''''''''''''''''''cl''''''''''''''e''a''r''''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Nuclear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020681-F81E-D6D7-4885-402C00BA2008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5746750" y="2354263"/>
            <a:ext cx="22066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60378AD-3B17-40A9-9689-03D337D766EC}" type="datetime'''P''et''''rol''eu''m '' ''''and ''othe''r l''iqu''''ids''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etroleum  and other liquid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423BDFF-C75B-7A31-86D9-7B859F4AAA3C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5746750" y="1827213"/>
            <a:ext cx="3651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FD34EBC-5368-4325-A9DB-FD90317F3819}" type="datetime'''''''C''''o''''''''''''a''''''''''''l'''''''''''''''">
              <a:rPr lang="en-US" altLang="en-US" sz="1400" smtClean="0">
                <a:solidFill>
                  <a:schemeClr val="tx1"/>
                </a:solidFill>
              </a:rPr>
              <a:pPr/>
              <a:t>Coal</a:t>
            </a:fld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12242DF-1C80-31BB-EFD7-B2E3BC3BCCB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5746750" y="2881313"/>
            <a:ext cx="1822450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EA47098-4945-483E-BDFD-E3A567547CE9}" type="datetime'''R''''''en''e''wa''b''le''''''s and'' ''ot''''h''''''''er '">
              <a:rPr lang="en-US" altLang="en-US" sz="14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Renewables and other </a:t>
            </a:fld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698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3178F9-A2F4-5C72-7B7F-9397564502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0687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3178F9-A2F4-5C72-7B7F-939756450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72CDCBB-F70A-6A62-DE7D-1F70AA9CA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2556" y="370734"/>
            <a:ext cx="7446044" cy="861774"/>
          </a:xfrm>
        </p:spPr>
        <p:txBody>
          <a:bodyPr vert="horz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2019, France consumed more nuclear energy than any other form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3FB775A-929C-D9EF-85B0-F289690B850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5983" y="5961661"/>
            <a:ext cx="7446044" cy="138499"/>
          </a:xfrm>
        </p:spPr>
        <p:txBody>
          <a:bodyPr/>
          <a:lstStyle/>
          <a:p>
            <a:r>
              <a:rPr lang="en-US" dirty="0"/>
              <a:t>Kristen Sosulski | International Energy Agency (2023)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FAA446FA-01B7-35FA-AA47-37127A071523}"/>
              </a:ext>
            </a:extLst>
          </p:cNvPr>
          <p:cNvCxnSpPr>
            <a:cxnSpLocks/>
          </p:cNvCxnSpPr>
          <p:nvPr/>
        </p:nvCxnSpPr>
        <p:spPr>
          <a:xfrm>
            <a:off x="8417859" y="1379538"/>
            <a:ext cx="339314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241C926C-1CB8-D750-4559-78747039AD6D}"/>
              </a:ext>
            </a:extLst>
          </p:cNvPr>
          <p:cNvSpPr txBox="1"/>
          <p:nvPr/>
        </p:nvSpPr>
        <p:spPr>
          <a:xfrm>
            <a:off x="1023730" y="66691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5F7EAE78-B9B2-622E-B759-3698BF5D2E88}"/>
              </a:ext>
            </a:extLst>
          </p:cNvPr>
          <p:cNvSpPr txBox="1"/>
          <p:nvPr/>
        </p:nvSpPr>
        <p:spPr>
          <a:xfrm>
            <a:off x="1162878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AAB23A8F-98D8-0AF8-C995-12DA2F1F3579}"/>
              </a:ext>
            </a:extLst>
          </p:cNvPr>
          <p:cNvSpPr txBox="1"/>
          <p:nvPr/>
        </p:nvSpPr>
        <p:spPr>
          <a:xfrm>
            <a:off x="655983" y="17890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1EA53F7C-0E4B-72EE-BBD0-DBB6D24EC858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418513" y="1436688"/>
            <a:ext cx="3392488" cy="446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Chart type: A bar chart would  better show the </a:t>
            </a:r>
            <a:r>
              <a:rPr lang="en-US" altLang="en-US" sz="1400" dirty="0">
                <a:solidFill>
                  <a:prstClr val="black"/>
                </a:solidFill>
              </a:rPr>
              <a:t>information. </a:t>
            </a: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Color: The colors contrast needs improvement, used the same color for all bars (or wedges if pie chart is used)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Text and labels: Pie wedges or bars could be directly labeled and legend omitted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Readability:  Omit italicized front from chart title.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lang="en-US" altLang="en-US" sz="1400" dirty="0">
                <a:solidFill>
                  <a:prstClr val="black"/>
                </a:solidFill>
              </a:rPr>
              <a:t>Readability: change font face from a serif font to a sans serif font such as Arial </a:t>
            </a: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endParaRPr lang="en-US" altLang="en-US" sz="1400" dirty="0">
              <a:solidFill>
                <a:prstClr val="black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A2116470-C6FA-A5C7-50F5-9ECBE5F87783}"/>
              </a:ext>
            </a:extLst>
          </p:cNvPr>
          <p:cNvSpPr/>
          <p:nvPr/>
        </p:nvSpPr>
        <p:spPr>
          <a:xfrm>
            <a:off x="333828" y="6611966"/>
            <a:ext cx="2307772" cy="2460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C025FB18-DAA0-4751-0591-5139EFB7E867}"/>
              </a:ext>
            </a:extLst>
          </p:cNvPr>
          <p:cNvSpPr/>
          <p:nvPr/>
        </p:nvSpPr>
        <p:spPr>
          <a:xfrm>
            <a:off x="5370286" y="6611966"/>
            <a:ext cx="6419157" cy="2460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19" name="Chart 318">
            <a:extLst>
              <a:ext uri="{FF2B5EF4-FFF2-40B4-BE49-F238E27FC236}">
                <a16:creationId xmlns:a16="http://schemas.microsoft.com/office/drawing/2014/main" id="{D99BD47B-7400-9E00-535F-E091C9A8C62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4916815"/>
              </p:ext>
            </p:extLst>
          </p:nvPr>
        </p:nvGraphicFramePr>
        <p:xfrm>
          <a:off x="320675" y="1611313"/>
          <a:ext cx="7610475" cy="367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94" name="Rectangle 293">
            <a:extLst>
              <a:ext uri="{FF2B5EF4-FFF2-40B4-BE49-F238E27FC236}">
                <a16:creationId xmlns:a16="http://schemas.microsoft.com/office/drawing/2014/main" id="{C2B319FD-3BDF-1136-5DB2-3730B3083AE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2360613" y="1928813"/>
            <a:ext cx="5540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7EDA4DD-D8F0-491E-AB15-955B2A1EB4CA}" type="datetime'''''''''3''''''''''''.''''''''''''4''''''''''''''''6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46</a:t>
            </a:fld>
            <a:r>
              <a:rPr lang="en-US" altLang="en-US" sz="1400" dirty="0">
                <a:solidFill>
                  <a:schemeClr val="tx1"/>
                </a:solidFill>
                <a:effectLst/>
              </a:rPr>
              <a:t>%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00" name="Rectangle 299">
            <a:extLst>
              <a:ext uri="{FF2B5EF4-FFF2-40B4-BE49-F238E27FC236}">
                <a16:creationId xmlns:a16="http://schemas.microsoft.com/office/drawing/2014/main" id="{37609D39-7EF6-CA3D-746A-D562271DABB9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3849688" y="3560763"/>
            <a:ext cx="5540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149D80D-0F97-46D4-AF21-5E33B0521923}" type="datetime'''1''''''''''''.''''''''''6''''''''''''1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.61</a:t>
            </a:fld>
            <a:r>
              <a:rPr lang="en-US" altLang="en-US" sz="1400" dirty="0">
                <a:solidFill>
                  <a:schemeClr val="tx1"/>
                </a:solidFill>
                <a:effectLst/>
              </a:rPr>
              <a:t>%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7645FAD2-D2CE-EA90-4B9F-68AFA3C4A5C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915150" y="5262563"/>
            <a:ext cx="377825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E98C3E2-7FD2-4107-AF29-28B3EADDA6D5}" type="datetime'''''''''''C''''''''''''''''oa''''''''l'''''''''''''''''">
              <a:rPr lang="en-US" altLang="en-US" sz="1400" smtClean="0">
                <a:solidFill>
                  <a:schemeClr val="tx1"/>
                </a:solidFill>
              </a:rPr>
              <a:pPr/>
              <a:t>Coal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07" name="Rectangle 306">
            <a:extLst>
              <a:ext uri="{FF2B5EF4-FFF2-40B4-BE49-F238E27FC236}">
                <a16:creationId xmlns:a16="http://schemas.microsoft.com/office/drawing/2014/main" id="{FFD74A0A-7060-D228-3260-F5AC32C30F68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5338763" y="4230688"/>
            <a:ext cx="5540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79868D-147C-404B-B51A-626AAB08C43F}" type="datetime'0''''''''.''''''8''''''''''''5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85</a:t>
            </a:fld>
            <a:r>
              <a:rPr lang="en-US" altLang="en-US" sz="1400" dirty="0">
                <a:solidFill>
                  <a:schemeClr val="tx1"/>
                </a:solidFill>
                <a:effectLst/>
              </a:rPr>
              <a:t>%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88" name="Rectangle 187">
            <a:extLst>
              <a:ext uri="{FF2B5EF4-FFF2-40B4-BE49-F238E27FC236}">
                <a16:creationId xmlns:a16="http://schemas.microsoft.com/office/drawing/2014/main" id="{4EB86819-D41B-E381-A2BA-2DD2F5B266E4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36613" y="5262563"/>
            <a:ext cx="6238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9ACF26-E0A8-42BD-A858-05D4B445E9DF}" type="datetime'''''''''Nu''cl''''''''''''ea''r'''''''''''''''''''''''''''''">
              <a:rPr lang="en-US" altLang="en-US" sz="1400" smtClean="0">
                <a:solidFill>
                  <a:schemeClr val="tx1"/>
                </a:solidFill>
              </a:rPr>
              <a:pPr/>
              <a:t>Nuclear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0" name="Rectangle 199">
            <a:extLst>
              <a:ext uri="{FF2B5EF4-FFF2-40B4-BE49-F238E27FC236}">
                <a16:creationId xmlns:a16="http://schemas.microsoft.com/office/drawing/2014/main" id="{D4C18E67-F825-696B-4DD2-A31558F22A2E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121275" y="5262563"/>
            <a:ext cx="989013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F56D350-5848-49AA-999A-0209B25A3C53}" type="datetime'''R''en''''''ewa''bl''''es and'''' ''''''''other'''''' '''''">
              <a:rPr lang="en-US" altLang="en-US" sz="1400" smtClean="0">
                <a:solidFill>
                  <a:schemeClr val="tx1"/>
                </a:solidFill>
              </a:rPr>
              <a:pPr/>
              <a:t>Renewables and other 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7" name="Rectangle 196">
            <a:extLst>
              <a:ext uri="{FF2B5EF4-FFF2-40B4-BE49-F238E27FC236}">
                <a16:creationId xmlns:a16="http://schemas.microsoft.com/office/drawing/2014/main" id="{12BEA523-A6CE-E9D0-547E-1EACE1084A52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3667125" y="5262563"/>
            <a:ext cx="919163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5248C96-83DE-445D-9498-122526925726}" type="datetime'N''''''''a''''''tu''r''''''''''''''''''''''al g''''a''''''''s'">
              <a:rPr lang="en-US" altLang="en-US" sz="1400" smtClean="0">
                <a:solidFill>
                  <a:schemeClr val="tx1"/>
                </a:solidFill>
              </a:rPr>
              <a:pPr/>
              <a:t>Natural ga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3851603A-4514-0E8F-A7E5-D7541383AC1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2030413" y="5262563"/>
            <a:ext cx="1214438" cy="42545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9025549-BFD3-45E6-AD48-04E42A8EF48C}" type="datetime'Pet''role''u''''m'''' '' ''''and oth''er l''''iq''ui''d''s'">
              <a:rPr lang="en-US" altLang="en-US" sz="1400" smtClean="0">
                <a:solidFill>
                  <a:schemeClr val="tx1"/>
                </a:solidFill>
              </a:rPr>
              <a:pPr/>
              <a:t>Petroleum  and other liquids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314" name="Rectangle 313">
            <a:extLst>
              <a:ext uri="{FF2B5EF4-FFF2-40B4-BE49-F238E27FC236}">
                <a16:creationId xmlns:a16="http://schemas.microsoft.com/office/drawing/2014/main" id="{078492E5-8954-BF1F-8301-1ED78DF2F656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6827838" y="4752975"/>
            <a:ext cx="5540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7201C80-726E-4561-B73C-A0D550A8D353}" type="datetime'''''''''0''''''''''''.''''''''''26''''''''''''''''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.26</a:t>
            </a:fld>
            <a:r>
              <a:rPr lang="en-US" altLang="en-US" sz="1400" dirty="0">
                <a:solidFill>
                  <a:schemeClr val="tx1"/>
                </a:solidFill>
                <a:effectLst/>
              </a:rPr>
              <a:t>%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87" name="Rectangle 286">
            <a:extLst>
              <a:ext uri="{FF2B5EF4-FFF2-40B4-BE49-F238E27FC236}">
                <a16:creationId xmlns:a16="http://schemas.microsoft.com/office/drawing/2014/main" id="{39F52307-8851-559F-EE3B-C0B3084527BF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871538" y="1476375"/>
            <a:ext cx="554038" cy="1920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5400" tIns="0" rIns="25400" bIns="0" numCol="1" spcCol="0" rtlCol="0" anchor="b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9E23429-61A4-4A4E-8920-1CE763EE0E31}" type="datetime'''3.''''''''''9''''''''''''''''''''''''''''''7'''''''''''">
              <a:rPr lang="en-US" altLang="en-US" sz="1400" smtClean="0">
                <a:solidFill>
                  <a:schemeClr val="tx1"/>
                </a:solidFill>
                <a:effectLst/>
              </a:rPr>
              <a:pPr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.97</a:t>
            </a:fld>
            <a:r>
              <a:rPr lang="en-US" altLang="en-US" sz="1400" dirty="0">
                <a:solidFill>
                  <a:schemeClr val="tx1"/>
                </a:solidFill>
                <a:effectLst/>
              </a:rPr>
              <a:t>%</a:t>
            </a: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720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4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44&quot; g=&quot;44&quot; b=&quot;44&quot;/&gt;&lt;/elem&gt;&lt;elem m_fUsage=&quot;9.00000000000000022204E-01&quot;&gt;&lt;m_msothmcolidx val=&quot;0&quot;/&gt;&lt;m_rgb r=&quot;F2&quot; g=&quot;F2&quot; b=&quot;F2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v087pf6qyI4IPm8h6T3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8PgmGYwixpU9WqXP6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RoRuTYEsw5HdLY4WFk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on.KoXOtQTjrKNdO6y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Q.Rz0GF9Q9lhcEl.w0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k9Fk3xcsHBfQJPf6fS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9cUaW5J_7ws3KJOc4s2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186cb3KBOmsszoR2nI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k4WPWrlyxtjXStFXR2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mu0D9m.NyoxF1qs1Mz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egn6IlWjt9yDVLEnCR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uZ2nIv6m6M37AdwiLl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xdnqyV5zmdcZbS_6SZ5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DQ1ARxCQT70P5wwiYTa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cQ8x2boeC8PvP9THxG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lTO1ngnIcaGsqJ7.eOR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82VYtVQH9467REIOvxJ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X_RZEHJMuemvjOPj.v0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JRPfw4zGv5esfASyK11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rdUNG04h.J7rkHtDtq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Zb7j5HAHBUsWz.FnyJ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7RUBAoH5vuj77YmR1qe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9FjDuaKDrymoIPhCqp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f.7z.sQ1w7q02CA03R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68">
      <a:dk1>
        <a:sysClr val="windowText" lastClr="000000"/>
      </a:dk1>
      <a:lt1>
        <a:sysClr val="window" lastClr="FFFFFF"/>
      </a:lt1>
      <a:dk2>
        <a:srgbClr val="444444"/>
      </a:dk2>
      <a:lt2>
        <a:srgbClr val="E7E6E6"/>
      </a:lt2>
      <a:accent1>
        <a:srgbClr val="6EA600"/>
      </a:accent1>
      <a:accent2>
        <a:srgbClr val="4C7300"/>
      </a:accent2>
      <a:accent3>
        <a:srgbClr val="0070B0"/>
      </a:accent3>
      <a:accent4>
        <a:srgbClr val="00507D"/>
      </a:accent4>
      <a:accent5>
        <a:srgbClr val="C0C0C0"/>
      </a:accent5>
      <a:accent6>
        <a:srgbClr val="777777"/>
      </a:accent6>
      <a:hlink>
        <a:srgbClr val="0563C1"/>
      </a:hlink>
      <a:folHlink>
        <a:srgbClr val="954F72"/>
      </a:folHlink>
    </a:clrScheme>
    <a:fontScheme name="Custom 10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206-0689_Template 3.1" id="{E9B783AE-D7FA-6F4B-BB4C-E51206C2798B}" vid="{EAB91737-99EC-FE4A-80FA-6693E945266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BA9472DB148543B0E75A42F733C0AD" ma:contentTypeVersion="16" ma:contentTypeDescription="Create a new document." ma:contentTypeScope="" ma:versionID="f0afe2dceac4d4796a1b99087b90a988">
  <xsd:schema xmlns:xsd="http://www.w3.org/2001/XMLSchema" xmlns:xs="http://www.w3.org/2001/XMLSchema" xmlns:p="http://schemas.microsoft.com/office/2006/metadata/properties" xmlns:ns2="e7b3f6d3-b914-4d54-8a9d-d3749b572a0d" xmlns:ns3="ac43b080-9074-42cf-86e9-370509c7664b" targetNamespace="http://schemas.microsoft.com/office/2006/metadata/properties" ma:root="true" ma:fieldsID="e4db793772c74071e4c6099f9587e461" ns2:_="" ns3:_="">
    <xsd:import namespace="e7b3f6d3-b914-4d54-8a9d-d3749b572a0d"/>
    <xsd:import namespace="ac43b080-9074-42cf-86e9-370509c766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b3f6d3-b914-4d54-8a9d-d3749b572a0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d14de46d-d306-4096-aa35-c0c8680c102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43b080-9074-42cf-86e9-370509c766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2" nillable="true" ma:displayName="Taxonomy Catch All Column" ma:hidden="true" ma:list="{2640fb9a-e19f-4527-a020-699c2eef9882}" ma:internalName="TaxCatchAll" ma:showField="CatchAllData" ma:web="ac43b080-9074-42cf-86e9-370509c766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43b080-9074-42cf-86e9-370509c7664b" xsi:nil="true"/>
    <lcf76f155ced4ddcb4097134ff3c332f xmlns="e7b3f6d3-b914-4d54-8a9d-d3749b572a0d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690B13-A9B3-44FF-B6E8-7039AFF48F1C}"/>
</file>

<file path=customXml/itemProps2.xml><?xml version="1.0" encoding="utf-8"?>
<ds:datastoreItem xmlns:ds="http://schemas.openxmlformats.org/officeDocument/2006/customXml" ds:itemID="{5C13C834-2860-4B15-A271-418955A0928D}">
  <ds:schemaRefs>
    <ds:schemaRef ds:uri="http://schemas.microsoft.com/office/2006/metadata/properties"/>
    <ds:schemaRef ds:uri="http://schemas.microsoft.com/office/2006/documentManagement/types"/>
    <ds:schemaRef ds:uri="4bd4d397-a849-4111-8caa-2cd1909bb285"/>
    <ds:schemaRef ds:uri="http://www.w3.org/XML/1998/namespace"/>
    <ds:schemaRef ds:uri="http://purl.org/dc/terms/"/>
    <ds:schemaRef ds:uri="http://purl.org/dc/dcmitype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40b3a238-e851-4bda-be3d-1ed623dfc157"/>
  </ds:schemaRefs>
</ds:datastoreItem>
</file>

<file path=customXml/itemProps3.xml><?xml version="1.0" encoding="utf-8"?>
<ds:datastoreItem xmlns:ds="http://schemas.openxmlformats.org/officeDocument/2006/customXml" ds:itemID="{4F5FB131-A390-42E1-B31D-2FEDED8C2E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060</TotalTime>
  <Words>225</Words>
  <Application>Microsoft Macintosh PowerPoint</Application>
  <PresentationFormat>Widescreen</PresentationFormat>
  <Paragraphs>38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Times New Roman</vt:lpstr>
      <vt:lpstr>Wingdings</vt:lpstr>
      <vt:lpstr>Office Theme</vt:lpstr>
      <vt:lpstr>think-cell Slide</vt:lpstr>
      <vt:lpstr>In 2019, France consumed more nuclear than any other energy forms</vt:lpstr>
      <vt:lpstr>In 2019, France consumed more nuclear energy than any other form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hink-cell Inc.</dc:creator>
  <cp:keywords/>
  <dc:description/>
  <cp:lastModifiedBy>kristen sosulski</cp:lastModifiedBy>
  <cp:revision>123</cp:revision>
  <cp:lastPrinted>2023-03-12T18:44:03Z</cp:lastPrinted>
  <dcterms:created xsi:type="dcterms:W3CDTF">2022-06-27T06:47:27Z</dcterms:created>
  <dcterms:modified xsi:type="dcterms:W3CDTF">2023-05-20T02:19:3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6CAD090FCB6C41B211BDAFA3947C73</vt:lpwstr>
  </property>
  <property fmtid="{D5CDD505-2E9C-101B-9397-08002B2CF9AE}" pid="3" name="MediaServiceImageTags">
    <vt:lpwstr/>
  </property>
  <property fmtid="{D5CDD505-2E9C-101B-9397-08002B2CF9AE}" pid="4" name="Version">
    <vt:lpwstr>1.02</vt:lpwstr>
  </property>
</Properties>
</file>